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82" y="-1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9988" y="1243013"/>
            <a:ext cx="4457700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7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xmlns="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xmlns="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xmlns="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8520" y="142852"/>
            <a:ext cx="9109676" cy="935534"/>
          </a:xfrm>
        </p:spPr>
        <p:txBody>
          <a:bodyPr>
            <a:noAutofit/>
          </a:bodyPr>
          <a:lstStyle/>
          <a:p>
            <a:r>
              <a:rPr lang="ru-RU" sz="2400" b="1" dirty="0"/>
              <a:t>РЕЙТИНГ МУНИЦИПАЛЬНЫХ ОБРАЗОВАНИЙ ПО УРОВНЮ ОТКРЫТОСТИ БЮДЖЕТНЫХ ДАННЫХ ЗА 1 ПОЛУГОДИЕ 2024 ГОД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xmlns="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539551" y="1078386"/>
            <a:ext cx="2736305" cy="5014910"/>
          </a:xfrm>
          <a:prstGeom prst="round2DiagRect">
            <a:avLst/>
          </a:prstGeom>
          <a:solidFill>
            <a:srgbClr val="006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 МО</a:t>
            </a: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/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округ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арымский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Петровск-     Забайкальский 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Чернышевский район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г. Петровск- Забайкальский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раснокаменский   район</a:t>
            </a:r>
          </a:p>
          <a:p>
            <a:pPr marL="285750" indent="-285750">
              <a:buFontTx/>
              <a:buChar char="-"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3275856" y="5949280"/>
            <a:ext cx="5328592" cy="765868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- ОТСУТСТВУЕТ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473675" y="1048004"/>
            <a:ext cx="5328592" cy="4761992"/>
          </a:xfrm>
          <a:prstGeom prst="round2DiagRect">
            <a:avLst/>
          </a:prstGeom>
          <a:solidFill>
            <a:srgbClr val="333399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МО</a:t>
            </a:r>
            <a:endParaRPr lang="ru-RU" sz="10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 район,  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ек-Заводский округ, Балей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 округ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Забайкаль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округ, Красночикойский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Могочинский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-Заводский округ, Ононский округ, Оловяннинский район, Приаргунский округ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ретенский район, 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екминский район, Тунгокоченский округ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Читин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Шилкинский район,           п. Агинское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Чита, п. ЗАТО Горный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</TotalTime>
  <Words>143</Words>
  <Application>Microsoft Office PowerPoint</Application>
  <PresentationFormat>Экран (4:3)</PresentationFormat>
  <Paragraphs>38</Paragraphs>
  <Slides>1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3" baseType="lpstr">
      <vt:lpstr>Тема Office</vt:lpstr>
      <vt:lpstr>think-cell Slide</vt:lpstr>
      <vt:lpstr>РЕЙТИНГ МУНИЦИПАЛЬНЫХ ОБРАЗОВАНИЙ ПО УРОВНЮ ОТКРЫТОСТИ БЮДЖЕТНЫХ ДАННЫХ ЗА 1 ПОЛУГОДИЕ 2024 ГОДА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User</cp:lastModifiedBy>
  <cp:revision>21</cp:revision>
  <cp:lastPrinted>2024-08-16T06:13:05Z</cp:lastPrinted>
  <dcterms:created xsi:type="dcterms:W3CDTF">2022-06-27T05:53:54Z</dcterms:created>
  <dcterms:modified xsi:type="dcterms:W3CDTF">2025-02-27T03:02:13Z</dcterms:modified>
</cp:coreProperties>
</file>